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>
      <p:cViewPr varScale="1">
        <p:scale>
          <a:sx n="105" d="100"/>
          <a:sy n="105" d="100"/>
        </p:scale>
        <p:origin x="138" y="23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8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7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w3ctag/design-reviews/issues/355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endParaRPr lang="en-US" sz="29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0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1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84F4C95F-716D-486B-8E52-A8D98EFFA515}"/>
              </a:ext>
            </a:extLst>
          </p:cNvPr>
          <p:cNvGrpSpPr/>
          <p:nvPr/>
        </p:nvGrpSpPr>
        <p:grpSpPr>
          <a:xfrm>
            <a:off x="7613311" y="910444"/>
            <a:ext cx="4249324" cy="4836452"/>
            <a:chOff x="7613311" y="910444"/>
            <a:chExt cx="4249324" cy="483645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18DFB0D4-43B9-4614-87D4-A88A9403AD17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4836452"/>
              <a:chOff x="7613311" y="910444"/>
              <a:chExt cx="4249324" cy="4836452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22A4212-081D-4B49-BD36-98C47B4A2A88}"/>
                  </a:ext>
                </a:extLst>
              </p:cNvPr>
              <p:cNvGrpSpPr/>
              <p:nvPr/>
            </p:nvGrpSpPr>
            <p:grpSpPr>
              <a:xfrm>
                <a:off x="8389718" y="1508627"/>
                <a:ext cx="2719977" cy="3677433"/>
                <a:chOff x="8389718" y="1508627"/>
                <a:chExt cx="2719977" cy="3677433"/>
              </a:xfrm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C28A8288-B046-42FA-B06A-5DBC93EE3D05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 rot="5400000" flipV="1">
                  <a:off x="8653494" y="2000710"/>
                  <a:ext cx="2192426" cy="271997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AEEF">
                        <a:alpha val="86000"/>
                      </a:srgbClr>
                    </a:gs>
                    <a:gs pos="100000">
                      <a:srgbClr val="00AEEF">
                        <a:alpha val="26000"/>
                      </a:srgbClr>
                    </a:gs>
                  </a:gsLst>
                  <a:lin ang="0" scaled="1"/>
                  <a:tileRect/>
                </a:gradFill>
                <a:ln w="28575" cap="flat" cmpd="sng" algn="ctr">
                  <a:noFill/>
                  <a:prstDash val="solid"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algn="ctr" defTabSz="914354">
                    <a:defRPr>
                      <a:effectLst/>
                    </a:defRPr>
                  </a:pPr>
                  <a:endParaRPr lang="en-US" sz="3067" b="1" kern="0">
                    <a:solidFill>
                      <a:prstClr val="black"/>
                    </a:solidFill>
                    <a:latin typeface="Intel Clear"/>
                  </a:endParaRPr>
                </a:p>
              </p:txBody>
            </p:sp>
            <p:pic>
              <p:nvPicPr>
                <p:cNvPr id="4" name="Picture 3">
                  <a:extLst>
                    <a:ext uri="{FF2B5EF4-FFF2-40B4-BE49-F238E27FC236}">
                      <a16:creationId xmlns:a16="http://schemas.microsoft.com/office/drawing/2014/main" id="{0142B63B-168E-414B-8DB1-560E54D47D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5400000">
                  <a:off x="7865124" y="2795355"/>
                  <a:ext cx="3677433" cy="1103977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A9EE1FF-91A8-411A-BE5A-5E7E479B6494}"/>
                  </a:ext>
                </a:extLst>
              </p:cNvPr>
              <p:cNvGrpSpPr/>
              <p:nvPr/>
            </p:nvGrpSpPr>
            <p:grpSpPr>
              <a:xfrm>
                <a:off x="7613311" y="3754626"/>
                <a:ext cx="4249324" cy="1992270"/>
                <a:chOff x="7613311" y="3754626"/>
                <a:chExt cx="4249324" cy="1992270"/>
              </a:xfrm>
            </p:grpSpPr>
            <p:sp>
              <p:nvSpPr>
                <p:cNvPr id="3" name="Flowchart: Manual Operation 2">
                  <a:extLst>
                    <a:ext uri="{FF2B5EF4-FFF2-40B4-BE49-F238E27FC236}">
                      <a16:creationId xmlns:a16="http://schemas.microsoft.com/office/drawing/2014/main" id="{7EFE8D1C-BFAE-4407-96BB-DF6E6FC9AEC9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 rot="10800000">
                  <a:off x="7613311" y="3754626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D9C2274F-EE42-43B5-BF32-B381968767B8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8785744" y="5026206"/>
                  <a:ext cx="196365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DEVICES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9641CF4F-10CF-4575-9180-4849EF8BFDBD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8342610" y="3986640"/>
                  <a:ext cx="2628242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JSON XML CBOR JPEG…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DD894DA-7EE5-49C8-B9EB-4CADFE78F721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7913261" y="4355198"/>
                  <a:ext cx="3738360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ONEM2M OCF ECHONET OPC-UA… 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E2B0B32B-7F3E-4F4D-A26D-3FF08977A2B3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7968955" y="4667283"/>
                  <a:ext cx="353081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HTTP COAP MQTT BACNET ZWAVE… 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07AA207D-2FE5-49E4-9E1D-36BC118B9961}"/>
                  </a:ext>
                </a:extLst>
              </p:cNvPr>
              <p:cNvGrpSpPr/>
              <p:nvPr/>
            </p:nvGrpSpPr>
            <p:grpSpPr>
              <a:xfrm>
                <a:off x="7613311" y="910444"/>
                <a:ext cx="4249324" cy="2080845"/>
                <a:chOff x="7613311" y="910444"/>
                <a:chExt cx="4249324" cy="2080845"/>
              </a:xfrm>
            </p:grpSpPr>
            <p:sp>
              <p:nvSpPr>
                <p:cNvPr id="5" name="Flowchart: Manual Operation 4">
                  <a:extLst>
                    <a:ext uri="{FF2B5EF4-FFF2-40B4-BE49-F238E27FC236}">
                      <a16:creationId xmlns:a16="http://schemas.microsoft.com/office/drawing/2014/main" id="{C3041B53-9F64-46EB-95A0-B684D8DABD2B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7613311" y="1028157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460F86C2-41BD-4210-8396-0CC5575F563B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8775354" y="910444"/>
                  <a:ext cx="2014174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APPLICATIONS</a:t>
                  </a: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660C2A7-3647-4CDB-BEC0-4F67D5D1C92D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8223830" y="2270599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TABLES  RDF/JSON-LD</a:t>
                  </a: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B7E2F181-70E3-4DB0-B24C-0A9A620A474F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8240639" y="1922384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SQL  SPARQL 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C238CC39-D92F-45B6-9B47-C437C466702C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7951889" y="1611338"/>
                  <a:ext cx="3547886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FAAS  DIGITAL TWINS  ML/AI ANALYTICS 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2683798-7DEE-49D4-8F33-B4DF5BD2BB4D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7894500" y="1265458"/>
                  <a:ext cx="3605275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CLOUD, EDGE/FOG, AND IOT SERVICES</a:t>
                  </a:r>
                </a:p>
              </p:txBody>
            </p:sp>
          </p:grp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D050763-61CE-4E69-A236-6054BEB10FD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8149177" y="3633272"/>
              <a:ext cx="2970938" cy="72069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tIns="121920" rtlCol="0" anchor="ctr"/>
            <a:lstStyle>
              <a:defPPr>
                <a:defRPr lang="en-US">
                  <a:effectLst/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70000"/>
                </a:lnSpc>
                <a:defRPr>
                  <a:effectLst/>
                </a:defRPr>
              </a:pPr>
              <a:r>
                <a:rPr lang="en-US" sz="2000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</a:rPr>
                <a:t>     </a:t>
              </a:r>
              <a:r>
                <a:rPr lang="en-US" sz="1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IOTSCHEMA ETSI-SSN OGS…</a:t>
              </a:r>
              <a:endParaRPr lang="en-US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061438" y="4473712"/>
                <a:ext cx="244447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YTHON  NODE.JS  C++  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LASK  EXPRESS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921255"/>
                <a:ext cx="290148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318473" y="1356219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QUERY AJAX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205578" y="1866837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AVASCRIPT</a:t>
                </a:r>
                <a:br>
                  <a:rPr lang="en-US" sz="1600" b="1" kern="0" dirty="0">
                    <a:solidFill>
                      <a:prstClr val="white"/>
                    </a:solidFill>
                    <a:latin typeface="Arial Narrow" panose="020B0606020202030204" pitchFamily="34" charset="0"/>
                  </a:rPr>
                </a:b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356947" y="5026206"/>
                <a:ext cx="280073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356947" y="4402908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56947" y="939981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98575" y="1621294"/>
                <a:ext cx="210389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09049" y="2959606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NTERACTIONS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: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15</a:t>
            </a:r>
            <a:r>
              <a:rPr lang="en-US" b="1" baseline="30000" dirty="0">
                <a:solidFill>
                  <a:prstClr val="black"/>
                </a:solidFill>
                <a:latin typeface="Calibri"/>
              </a:rPr>
              <a:t>th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0</TotalTime>
  <Words>947</Words>
  <Application>Microsoft Office PowerPoint</Application>
  <PresentationFormat>Custom</PresentationFormat>
  <Paragraphs>25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Arial Narrow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;Michael McCool</dc:creator>
  <cp:keywords>CTPClassification=CTP_NT</cp:keywords>
  <cp:lastModifiedBy>Mccool, Michael</cp:lastModifiedBy>
  <cp:revision>142</cp:revision>
  <dcterms:created xsi:type="dcterms:W3CDTF">2018-05-15T12:31:41Z</dcterms:created>
  <dcterms:modified xsi:type="dcterms:W3CDTF">2019-04-08T14:4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14:43:2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